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F0C9FA05-5E80-4B65-B642-E0E40C56E1B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4.487143535629761e-06</c:v>
                </c:pt>
                <c:pt idx="1">
                  <c:v/>
                </c:pt>
                <c:pt idx="2">
                  <c:v/>
                </c:pt>
                <c:pt idx="3">
                  <c:v>2.9454803965226516e-06</c:v>
                </c:pt>
                <c:pt idx="4">
                  <c:v/>
                </c:pt>
                <c:pt idx="5">
                  <c:v>0.002493317295051694</c:v>
                </c:pt>
                <c:pt idx="6">
                  <c:v>0.014788212173148355</c:v>
                </c:pt>
                <c:pt idx="7">
                  <c:v>1.5041456514957727e-05</c:v>
                </c:pt>
                <c:pt idx="8">
                  <c:v>0.0007813286634876524</c:v>
                </c:pt>
                <c:pt idx="9">
                  <c:v>0.015455115750503545</c:v>
                </c:pt>
                <c:pt idx="10">
                  <c:v>0.0018845801282553845</c:v>
                </c:pt>
                <c:pt idx="11">
                  <c:v>0.00012260871003326497</c:v>
                </c:pt>
                <c:pt idx="12">
                  <c:v>1.9486335983087715e-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0.004784849183471466</c:v>
                </c:pt>
                <c:pt idx="9">
                  <c:v/>
                </c:pt>
                <c:pt idx="10">
                  <c:v>0.005561246332528188</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05561246332528188</c:v>
                </c:pt>
                <c:pt idx="4">
                  <c:v/>
                </c:pt>
                <c:pt idx="5">
                  <c:v>0.004784849183471466</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
                </c:pt>
                <c:pt idx="2">
                  <c:v>0.001879874512001602</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0.08209817276612301</c:v>
                </c:pt>
                <c:pt idx="3">
                  <c:v/>
                </c:pt>
                <c:pt idx="4">
                  <c:v>0.05794383094949777</c:v>
                </c:pt>
                <c:pt idx="5">
                  <c:v>2.1142051482805436e-07</c:v>
                </c:pt>
                <c:pt idx="6">
                  <c:v>0.04270081280033697</c:v>
                </c:pt>
                <c:pt idx="7">
                  <c:v/>
                </c:pt>
                <c:pt idx="8">
                  <c:v>0.06559091826119108</c:v>
                </c:pt>
                <c:pt idx="9">
                  <c:v>3.8638921675472004e-07</c:v>
                </c:pt>
                <c:pt idx="10">
                  <c:v>0.012428449738880718</c:v>
                </c:pt>
                <c:pt idx="11">
                  <c:v/>
                </c:pt>
                <c:pt idx="12">
                  <c:v>0.00013094949266694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
                </c:pt>
                <c:pt idx="2">
                  <c:v>0.007966005531298805</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0.08551731978846905</c:v>
                </c:pt>
                <c:pt idx="3">
                  <c:v/>
                </c:pt>
                <c:pt idx="4">
                  <c:v>0.07509989132561243</c:v>
                </c:pt>
                <c:pt idx="5">
                  <c:v/>
                </c:pt>
                <c:pt idx="6">
                  <c:v>0.028439093690432658</c:v>
                </c:pt>
                <c:pt idx="7">
                  <c:v/>
                </c:pt>
                <c:pt idx="8">
                  <c:v>0.09475556456907686</c:v>
                </c:pt>
                <c:pt idx="9">
                  <c:v/>
                </c:pt>
                <c:pt idx="10">
                  <c:v>0.005982980832951795</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467138887234618</c:v>
                </c:pt>
                <c:pt idx="1">
                  <c:v/>
                </c:pt>
                <c:pt idx="2">
                  <c:v>0.10371095193438469</c:v>
                </c:pt>
                <c:pt idx="3">
                  <c:v/>
                </c:pt>
                <c:pt idx="4">
                  <c:v>0.013285795569918612</c:v>
                </c:pt>
                <c:pt idx="5">
                  <c:v>4.3911920723197764e-05</c:v>
                </c:pt>
                <c:pt idx="6">
                  <c:v>0.39936557319765603</c:v>
                </c:pt>
                <c:pt idx="7">
                  <c:v>0.0009439269167876278</c:v>
                </c:pt>
                <c:pt idx="8">
                  <c:v>0.4644319541019976</c:v>
                </c:pt>
                <c:pt idx="9">
                  <c:v/>
                </c:pt>
                <c:pt idx="10">
                  <c:v>0.016750747471297605</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05982980832951795</c:v>
                </c:pt>
                <c:pt idx="4">
                  <c:v/>
                </c:pt>
                <c:pt idx="5">
                  <c:v>0.09475556456907686</c:v>
                </c:pt>
                <c:pt idx="6">
                  <c:v/>
                </c:pt>
                <c:pt idx="7">
                  <c:v>0.028439093690432658</c:v>
                </c:pt>
                <c:pt idx="8">
                  <c:v>0.07509989132561243</c:v>
                </c:pt>
                <c:pt idx="9">
                  <c:v/>
                </c:pt>
                <c:pt idx="10">
                  <c:v>0.08551731978846905</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51006066755415164</c:v>
                </c:pt>
                <c:pt idx="5">
                  <c:v/>
                </c:pt>
                <c:pt idx="6">
                  <c:v>0.026441561849660927</c:v>
                </c:pt>
                <c:pt idx="7">
                  <c:v>6.780037199658295e-07</c:v>
                </c:pt>
                <c:pt idx="8">
                  <c:v>0.08803892884481457</c:v>
                </c:pt>
                <c:pt idx="9">
                  <c:v/>
                </c:pt>
                <c:pt idx="10">
                  <c:v>0.038898859553271804</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5935285989812673</c:v>
                </c:pt>
                <c:pt idx="5">
                  <c:v/>
                </c:pt>
                <c:pt idx="6">
                  <c:v>0.04056330411108755</c:v>
                </c:pt>
                <c:pt idx="7">
                  <c:v/>
                </c:pt>
                <c:pt idx="8">
                  <c:v>0.09103779430939526</c:v>
                </c:pt>
                <c:pt idx="9">
                  <c:v/>
                </c:pt>
                <c:pt idx="10">
                  <c:v>0.04323960295438646</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467138887234618</c:v>
                </c:pt>
                <c:pt idx="1">
                  <c:v>0.10371095193438469</c:v>
                </c:pt>
                <c:pt idx="2">
                  <c:v/>
                </c:pt>
                <c:pt idx="3">
                  <c:v/>
                </c:pt>
                <c:pt idx="4">
                  <c:v>0.013285795569918612</c:v>
                </c:pt>
                <c:pt idx="5">
                  <c:v>4.3911920723197764e-05</c:v>
                </c:pt>
                <c:pt idx="6">
                  <c:v>0.39936557319765603</c:v>
                </c:pt>
                <c:pt idx="7">
                  <c:v>0.0009439269167876278</c:v>
                </c:pt>
                <c:pt idx="8">
                  <c:v>0.4644319541019976</c:v>
                </c:pt>
                <c:pt idx="9">
                  <c:v/>
                </c:pt>
                <c:pt idx="10">
                  <c:v>0.016750747471297605</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4323960295438646</c:v>
                </c:pt>
                <c:pt idx="4">
                  <c:v/>
                </c:pt>
                <c:pt idx="5">
                  <c:v>0.09103779430939526</c:v>
                </c:pt>
                <c:pt idx="6">
                  <c:v/>
                </c:pt>
                <c:pt idx="7">
                  <c:v>0.04056330411108755</c:v>
                </c:pt>
                <c:pt idx="8">
                  <c:v>0.05935285989812673</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4.487143535629761e-06</c:v>
                </c:pt>
                <c:pt idx="1">
                  <c:v/>
                </c:pt>
                <c:pt idx="2">
                  <c:v/>
                </c:pt>
                <c:pt idx="3">
                  <c:v>2.9454803965226516e-06</c:v>
                </c:pt>
                <c:pt idx="4">
                  <c:v/>
                </c:pt>
                <c:pt idx="5">
                  <c:v>0.002493317295051694</c:v>
                </c:pt>
                <c:pt idx="6">
                  <c:v>0.014788212173148355</c:v>
                </c:pt>
                <c:pt idx="7">
                  <c:v>1.5041456514957727e-05</c:v>
                </c:pt>
                <c:pt idx="8">
                  <c:v>0.0007813286634876524</c:v>
                </c:pt>
                <c:pt idx="9">
                  <c:v>0.015455115750503545</c:v>
                </c:pt>
                <c:pt idx="10">
                  <c:v>0.0018845801282553845</c:v>
                </c:pt>
                <c:pt idx="11">
                  <c:v>0.00012260871003326497</c:v>
                </c:pt>
                <c:pt idx="12">
                  <c:v>1.9486335983087715e-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
                </c:pt>
                <c:pt idx="2">
                  <c:v>0.001879874512001602</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0.08209817276612301</c:v>
                </c:pt>
                <c:pt idx="3">
                  <c:v/>
                </c:pt>
                <c:pt idx="4">
                  <c:v>0.05794383094949777</c:v>
                </c:pt>
                <c:pt idx="5">
                  <c:v>2.1142051482805436e-07</c:v>
                </c:pt>
                <c:pt idx="6">
                  <c:v>0.04270081280033697</c:v>
                </c:pt>
                <c:pt idx="7">
                  <c:v/>
                </c:pt>
                <c:pt idx="8">
                  <c:v>0.06559091826119108</c:v>
                </c:pt>
                <c:pt idx="9">
                  <c:v>3.8638921675472004e-07</c:v>
                </c:pt>
                <c:pt idx="10">
                  <c:v>0.012428449738880718</c:v>
                </c:pt>
                <c:pt idx="11">
                  <c:v/>
                </c:pt>
                <c:pt idx="12">
                  <c:v>0.00013094949266694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
                </c:pt>
                <c:pt idx="2">
                  <c:v>0.007966005531298805</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0.09266040284708145</c:v>
                </c:pt>
                <c:pt idx="3">
                  <c:v/>
                </c:pt>
                <c:pt idx="4">
                  <c:v>0.07780055435957021</c:v>
                </c:pt>
                <c:pt idx="5">
                  <c:v/>
                </c:pt>
                <c:pt idx="6">
                  <c:v>0.00862511242815835</c:v>
                </c:pt>
                <c:pt idx="7">
                  <c:v/>
                </c:pt>
                <c:pt idx="8">
                  <c:v>0.08428422334642685</c:v>
                </c:pt>
                <c:pt idx="9">
                  <c:v/>
                </c:pt>
                <c:pt idx="10">
                  <c:v>0.015077396017676884</c:v>
                </c:pt>
                <c:pt idx="11">
                  <c:v/>
                </c:pt>
                <c:pt idx="12">
                  <c:v>0.000303847035099253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0.0003038470350992533</c:v>
                </c:pt>
                <c:pt idx="2">
                  <c:v/>
                </c:pt>
                <c:pt idx="3">
                  <c:v>0.015077396017676884</c:v>
                </c:pt>
                <c:pt idx="4">
                  <c:v/>
                </c:pt>
                <c:pt idx="5">
                  <c:v>0.08428422334642685</c:v>
                </c:pt>
                <c:pt idx="6">
                  <c:v/>
                </c:pt>
                <c:pt idx="7">
                  <c:v>0.00862511242815835</c:v>
                </c:pt>
                <c:pt idx="8">
                  <c:v>0.07780055435957021</c:v>
                </c:pt>
                <c:pt idx="9">
                  <c:v/>
                </c:pt>
                <c:pt idx="10">
                  <c:v>0.09266040284708145</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8541456285962463</c:v>
                </c:pt>
                <c:pt idx="10">
                  <c:v>0.002823103537123414</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51006066755415164</c:v>
                </c:pt>
                <c:pt idx="5">
                  <c:v/>
                </c:pt>
                <c:pt idx="6">
                  <c:v>0.026441561849660927</c:v>
                </c:pt>
                <c:pt idx="7">
                  <c:v>6.780037199658295e-07</c:v>
                </c:pt>
                <c:pt idx="8">
                  <c:v>0.08803892884481457</c:v>
                </c:pt>
                <c:pt idx="9">
                  <c:v/>
                </c:pt>
                <c:pt idx="10">
                  <c:v>0.038898859553271804</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7831140442375314</c:v>
                </c:pt>
                <c:pt idx="5">
                  <c:v/>
                </c:pt>
                <c:pt idx="6">
                  <c:v>0.01888234821986699</c:v>
                </c:pt>
                <c:pt idx="7">
                  <c:v/>
                </c:pt>
                <c:pt idx="8">
                  <c:v>0.07974748276914807</c:v>
                </c:pt>
                <c:pt idx="9">
                  <c:v/>
                </c:pt>
                <c:pt idx="10">
                  <c:v>0.05151538746637596</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0.001286619633904895</c:v>
                </c:pt>
                <c:pt idx="10">
                  <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5151538746637596</c:v>
                </c:pt>
                <c:pt idx="4">
                  <c:v/>
                </c:pt>
                <c:pt idx="5">
                  <c:v>0.07974748276914807</c:v>
                </c:pt>
                <c:pt idx="6">
                  <c:v/>
                </c:pt>
                <c:pt idx="7">
                  <c:v>0.01888234821986699</c:v>
                </c:pt>
                <c:pt idx="8">
                  <c:v>0.07831140442375314</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0.0003042369145724824</c:v>
                </c:pt>
                <c:pt idx="10">
                  <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09845993218754697</c:v>
                </c:pt>
                <c:pt idx="10">
                  <c:v>0.0006300585341544022</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0.001286619633904895</c:v>
                </c:pt>
                <c:pt idx="10">
                  <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9494602653907465</c:v>
                </c:pt>
                <c:pt idx="10">
                  <c:v>0.0050850788674914535</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1293150557293274</c:v>
                </c:pt>
                <c:pt idx="10">
                  <c:v>0.0008193496303674965</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1467138887234618</c:v>
                </c:pt>
                <c:pt idx="1">
                  <c:v>0.10371095193438469</c:v>
                </c:pt>
                <c:pt idx="2">
                  <c:v/>
                </c:pt>
                <c:pt idx="3">
                  <c:v>0.013285795569918612</c:v>
                </c:pt>
                <c:pt idx="4">
                  <c:v/>
                </c:pt>
                <c:pt idx="5">
                  <c:v>4.3911920723197764e-05</c:v>
                </c:pt>
                <c:pt idx="6">
                  <c:v>0.39936557319765603</c:v>
                </c:pt>
                <c:pt idx="7">
                  <c:v>0.0009439269167876278</c:v>
                </c:pt>
                <c:pt idx="8">
                  <c:v>0.4644319541019976</c:v>
                </c:pt>
                <c:pt idx="9">
                  <c:v>0.016750747471297605</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0.0008193496303674965</c:v>
                </c:pt>
                <c:pt idx="3">
                  <c:v>0.01293150557293274</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0.0003042369145724824</c:v>
                </c:pt>
                <c:pt idx="10">
                  <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09845993218754697</c:v>
                </c:pt>
                <c:pt idx="10">
                  <c:v>0.0006300585341544022</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0.001286619633904895</c:v>
                </c:pt>
                <c:pt idx="10">
                  <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14830640004605952</c:v>
                </c:pt>
                <c:pt idx="10">
                  <c:v>0.001313980858004695</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0.001313980858004695</c:v>
                </c:pt>
                <c:pt idx="3">
                  <c:v>0.014830640004605952</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0.0050850788674914535</c:v>
                </c:pt>
                <c:pt idx="3">
                  <c:v>0.09494602653907465</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0.0003042369145724824</c:v>
                </c:pt>
                <c:pt idx="10">
                  <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0.0025223213252394106</c:v>
                </c:pt>
                <c:pt idx="7">
                  <c:v/>
                </c:pt>
                <c:pt idx="8">
                  <c:v>0.008084425251392193</c:v>
                </c:pt>
                <c:pt idx="9">
                  <c:v>0.005325622085182448</c:v>
                </c:pt>
                <c:pt idx="10">
                  <c:v>0.000218062339309079</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0.001286619633904895</c:v>
                </c:pt>
                <c:pt idx="10">
                  <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0.005043553068305772</c:v>
                </c:pt>
                <c:pt idx="7">
                  <c:v/>
                </c:pt>
                <c:pt idx="8">
                  <c:v>0.011625394479847445</c:v>
                </c:pt>
                <c:pt idx="9">
                  <c:v>0.007451493482117376</c:v>
                </c:pt>
                <c:pt idx="10">
                  <c:v>0.00026454046997988044</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1467138887234618</c:v>
                </c:pt>
                <c:pt idx="1">
                  <c:v>0.10371095193438469</c:v>
                </c:pt>
                <c:pt idx="2">
                  <c:v/>
                </c:pt>
                <c:pt idx="3">
                  <c:v>0.013285795569918612</c:v>
                </c:pt>
                <c:pt idx="4">
                  <c:v/>
                </c:pt>
                <c:pt idx="5">
                  <c:v>4.3911920723197764e-05</c:v>
                </c:pt>
                <c:pt idx="6">
                  <c:v>0.39936557319765603</c:v>
                </c:pt>
                <c:pt idx="7">
                  <c:v>0.0009439269167876278</c:v>
                </c:pt>
                <c:pt idx="8">
                  <c:v>0.4644319541019976</c:v>
                </c:pt>
                <c:pt idx="9">
                  <c:v>0.016750747471297605</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0.00026454046997988044</c:v>
                </c:pt>
                <c:pt idx="3">
                  <c:v>0.007451493482117376</c:v>
                </c:pt>
                <c:pt idx="4">
                  <c:v/>
                </c:pt>
                <c:pt idx="5">
                  <c:v>0.011625394479847445</c:v>
                </c:pt>
                <c:pt idx="6">
                  <c:v/>
                </c:pt>
                <c:pt idx="7">
                  <c:v>0.005043553068305772</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
                </c:pt>
                <c:pt idx="2">
                  <c:v>0.001879874512001602</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9980267979165756e-08</c:v>
                </c:pt>
                <c:pt idx="1">
                  <c:v/>
                </c:pt>
                <c:pt idx="2">
                  <c:v>0.008653908997109138</c:v>
                </c:pt>
                <c:pt idx="3">
                  <c:v/>
                </c:pt>
                <c:pt idx="4">
                  <c:v>0.006107817300749283</c:v>
                </c:pt>
                <c:pt idx="5">
                  <c:v>2.2285683515223345e-08</c:v>
                </c:pt>
                <c:pt idx="6">
                  <c:v>0.004501061785253174</c:v>
                </c:pt>
                <c:pt idx="7">
                  <c:v/>
                </c:pt>
                <c:pt idx="8">
                  <c:v>0.006913891241966757</c:v>
                </c:pt>
                <c:pt idx="9">
                  <c:v>4.0729007803684044e-08</c:v>
                </c:pt>
                <c:pt idx="10">
                  <c:v>0.0013100738955763938</c:v>
                </c:pt>
                <c:pt idx="11">
                  <c:v/>
                </c:pt>
                <c:pt idx="12">
                  <c:v>1.3803291286222127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
                </c:pt>
                <c:pt idx="2">
                  <c:v>0.007966005531298805</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0.009601321791568938</c:v>
                </c:pt>
                <c:pt idx="3">
                  <c:v/>
                </c:pt>
                <c:pt idx="4">
                  <c:v>0.008431721491186019</c:v>
                </c:pt>
                <c:pt idx="5">
                  <c:v/>
                </c:pt>
                <c:pt idx="6">
                  <c:v>0.0031929542536860422</c:v>
                </c:pt>
                <c:pt idx="7">
                  <c:v/>
                </c:pt>
                <c:pt idx="8">
                  <c:v>0.010638531109486055</c:v>
                </c:pt>
                <c:pt idx="9">
                  <c:v/>
                </c:pt>
                <c:pt idx="10">
                  <c:v>0.0006717297079942517</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467138887234618</c:v>
                </c:pt>
                <c:pt idx="1">
                  <c:v/>
                </c:pt>
                <c:pt idx="2">
                  <c:v>0.10371095193438469</c:v>
                </c:pt>
                <c:pt idx="3">
                  <c:v/>
                </c:pt>
                <c:pt idx="4">
                  <c:v>0.013285795569918612</c:v>
                </c:pt>
                <c:pt idx="5">
                  <c:v>4.3911920723197764e-05</c:v>
                </c:pt>
                <c:pt idx="6">
                  <c:v>0.39936557319765603</c:v>
                </c:pt>
                <c:pt idx="7">
                  <c:v>0.0009439269167876278</c:v>
                </c:pt>
                <c:pt idx="8">
                  <c:v>0.4644319541019976</c:v>
                </c:pt>
                <c:pt idx="9">
                  <c:v/>
                </c:pt>
                <c:pt idx="10">
                  <c:v>0.016750747471297605</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006717297079942517</c:v>
                </c:pt>
                <c:pt idx="4">
                  <c:v/>
                </c:pt>
                <c:pt idx="5">
                  <c:v>0.010638531109486055</c:v>
                </c:pt>
                <c:pt idx="6">
                  <c:v/>
                </c:pt>
                <c:pt idx="7">
                  <c:v>0.0031929542536860422</c:v>
                </c:pt>
                <c:pt idx="8">
                  <c:v>0.008431721491186019</c:v>
                </c:pt>
                <c:pt idx="9">
                  <c:v/>
                </c:pt>
                <c:pt idx="10">
                  <c:v>0.009601321791568938</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8541456285962463</c:v>
                </c:pt>
                <c:pt idx="10">
                  <c:v>0.002823103537123414</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05376512596197229</c:v>
                </c:pt>
                <c:pt idx="5">
                  <c:v/>
                </c:pt>
                <c:pt idx="6">
                  <c:v>0.002787185905345995</c:v>
                </c:pt>
                <c:pt idx="7">
                  <c:v>7.146788161778521e-08</c:v>
                </c:pt>
                <c:pt idx="8">
                  <c:v>0.009604411073885856</c:v>
                </c:pt>
                <c:pt idx="9">
                  <c:v/>
                </c:pt>
                <c:pt idx="10">
                  <c:v>0.004743075855038201</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06663748449336478</c:v>
                </c:pt>
                <c:pt idx="5">
                  <c:v/>
                </c:pt>
                <c:pt idx="6">
                  <c:v>0.004554180798266048</c:v>
                </c:pt>
                <c:pt idx="7">
                  <c:v/>
                </c:pt>
                <c:pt idx="8">
                  <c:v>0.010225373496236092</c:v>
                </c:pt>
                <c:pt idx="9">
                  <c:v/>
                </c:pt>
                <c:pt idx="10">
                  <c:v>0.005851497428834874</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467138887234618</c:v>
                </c:pt>
                <c:pt idx="1">
                  <c:v>0.10371095193438469</c:v>
                </c:pt>
                <c:pt idx="2">
                  <c:v/>
                </c:pt>
                <c:pt idx="3">
                  <c:v/>
                </c:pt>
                <c:pt idx="4">
                  <c:v>0.013285795569918612</c:v>
                </c:pt>
                <c:pt idx="5">
                  <c:v>4.3911920723197764e-05</c:v>
                </c:pt>
                <c:pt idx="6">
                  <c:v>0.39936557319765603</c:v>
                </c:pt>
                <c:pt idx="7">
                  <c:v>0.0009439269167876278</c:v>
                </c:pt>
                <c:pt idx="8">
                  <c:v>0.4644319541019976</c:v>
                </c:pt>
                <c:pt idx="9">
                  <c:v/>
                </c:pt>
                <c:pt idx="10">
                  <c:v>0.016750747471297605</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05851497428834874</c:v>
                </c:pt>
                <c:pt idx="4">
                  <c:v/>
                </c:pt>
                <c:pt idx="5">
                  <c:v>0.010225373496236092</c:v>
                </c:pt>
                <c:pt idx="6">
                  <c:v/>
                </c:pt>
                <c:pt idx="7">
                  <c:v>0.004554180798266048</c:v>
                </c:pt>
                <c:pt idx="8">
                  <c:v>0.006663748449336478</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0.0003042369145724824</c:v>
                </c:pt>
                <c:pt idx="10">
                  <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0.0025223213252394106</c:v>
                </c:pt>
                <c:pt idx="7">
                  <c:v/>
                </c:pt>
                <c:pt idx="8">
                  <c:v>0.008084425251392193</c:v>
                </c:pt>
                <c:pt idx="9">
                  <c:v>0.005325622085182448</c:v>
                </c:pt>
                <c:pt idx="10">
                  <c:v>0.000218062339309079</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0.001286619633904895</c:v>
                </c:pt>
                <c:pt idx="10">
                  <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0.002476399280447082</c:v>
                </c:pt>
                <c:pt idx="7">
                  <c:v/>
                </c:pt>
                <c:pt idx="8">
                  <c:v>0.009166887961390938</c:v>
                </c:pt>
                <c:pt idx="9">
                  <c:v>0.007376415196361444</c:v>
                </c:pt>
                <c:pt idx="10">
                  <c:v>0.0004729211420974601</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0.0004729211420974601</c:v>
                </c:pt>
                <c:pt idx="3">
                  <c:v>0.007376415196361444</c:v>
                </c:pt>
                <c:pt idx="4">
                  <c:v/>
                </c:pt>
                <c:pt idx="5">
                  <c:v>0.009166887961390938</c:v>
                </c:pt>
                <c:pt idx="6">
                  <c:v/>
                </c:pt>
                <c:pt idx="7">
                  <c:v>0.002476399280447082</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
                </c:pt>
                <c:pt idx="2">
                  <c:v>0.001879874512001602</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9980267979165756e-08</c:v>
                </c:pt>
                <c:pt idx="1">
                  <c:v/>
                </c:pt>
                <c:pt idx="2">
                  <c:v>0.008653908997109138</c:v>
                </c:pt>
                <c:pt idx="3">
                  <c:v/>
                </c:pt>
                <c:pt idx="4">
                  <c:v>0.006107817300749283</c:v>
                </c:pt>
                <c:pt idx="5">
                  <c:v>2.2285683515223345e-08</c:v>
                </c:pt>
                <c:pt idx="6">
                  <c:v>0.004501061785253174</c:v>
                </c:pt>
                <c:pt idx="7">
                  <c:v/>
                </c:pt>
                <c:pt idx="8">
                  <c:v>0.006913891241966757</c:v>
                </c:pt>
                <c:pt idx="9">
                  <c:v>4.0729007803684044e-08</c:v>
                </c:pt>
                <c:pt idx="10">
                  <c:v>0.0013100738955763938</c:v>
                </c:pt>
                <c:pt idx="11">
                  <c:v/>
                </c:pt>
                <c:pt idx="12">
                  <c:v>1.3803291286222127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
                </c:pt>
                <c:pt idx="2">
                  <c:v>0.007966005531298805</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1717458755761993e-07</c:v>
                </c:pt>
                <c:pt idx="1">
                  <c:v/>
                </c:pt>
                <c:pt idx="2">
                  <c:v>0.010098768442806877</c:v>
                </c:pt>
                <c:pt idx="3">
                  <c:v/>
                </c:pt>
                <c:pt idx="4">
                  <c:v>0.008479239880879232</c:v>
                </c:pt>
                <c:pt idx="5">
                  <c:v/>
                </c:pt>
                <c:pt idx="6">
                  <c:v>0.0009400241152511937</c:v>
                </c:pt>
                <c:pt idx="7">
                  <c:v/>
                </c:pt>
                <c:pt idx="8">
                  <c:v>0.009185874751290178</c:v>
                </c:pt>
                <c:pt idx="9">
                  <c:v/>
                </c:pt>
                <c:pt idx="10">
                  <c:v>0.0016432383890484376</c:v>
                </c:pt>
                <c:pt idx="11">
                  <c:v/>
                </c:pt>
                <c:pt idx="12">
                  <c:v>3.311534112974581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3.311534112974581e-05</c:v>
                </c:pt>
                <c:pt idx="2">
                  <c:v/>
                </c:pt>
                <c:pt idx="3">
                  <c:v>0.0016432383890484376</c:v>
                </c:pt>
                <c:pt idx="4">
                  <c:v/>
                </c:pt>
                <c:pt idx="5">
                  <c:v>0.009185874751290178</c:v>
                </c:pt>
                <c:pt idx="6">
                  <c:v/>
                </c:pt>
                <c:pt idx="7">
                  <c:v>0.0009400241152511937</c:v>
                </c:pt>
                <c:pt idx="8">
                  <c:v>0.008479239880879232</c:v>
                </c:pt>
                <c:pt idx="9">
                  <c:v/>
                </c:pt>
                <c:pt idx="10">
                  <c:v>0.010098768442806877</c:v>
                </c:pt>
                <c:pt idx="11">
                  <c:v/>
                </c:pt>
                <c:pt idx="12">
                  <c:v>1.1717458755761993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05376512596197229</c:v>
                </c:pt>
                <c:pt idx="5">
                  <c:v/>
                </c:pt>
                <c:pt idx="6">
                  <c:v>0.002787185905345995</c:v>
                </c:pt>
                <c:pt idx="7">
                  <c:v>7.146788161778521e-08</c:v>
                </c:pt>
                <c:pt idx="8">
                  <c:v>0.009604411073885856</c:v>
                </c:pt>
                <c:pt idx="9">
                  <c:v/>
                </c:pt>
                <c:pt idx="10">
                  <c:v>0.004743075855038201</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08534915836828727</c:v>
                </c:pt>
                <c:pt idx="5">
                  <c:v/>
                </c:pt>
                <c:pt idx="6">
                  <c:v>0.0020579282678446667</c:v>
                </c:pt>
                <c:pt idx="7">
                  <c:v/>
                </c:pt>
                <c:pt idx="8">
                  <c:v>0.009331018011554821</c:v>
                </c:pt>
                <c:pt idx="9">
                  <c:v/>
                </c:pt>
                <c:pt idx="10">
                  <c:v>0.0063578705873019266</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063578705873019266</c:v>
                </c:pt>
                <c:pt idx="4">
                  <c:v/>
                </c:pt>
                <c:pt idx="5">
                  <c:v>0.009331018011554821</c:v>
                </c:pt>
                <c:pt idx="6">
                  <c:v/>
                </c:pt>
                <c:pt idx="7">
                  <c:v>0.0020579282678446667</c:v>
                </c:pt>
                <c:pt idx="8">
                  <c:v>0.008534915836828727</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0.0003042369145724824</c:v>
                </c:pt>
                <c:pt idx="10">
                  <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0.002134176755931314</c:v>
                </c:pt>
                <c:pt idx="7">
                  <c:v>3.2311204711788105e-05</c:v>
                </c:pt>
                <c:pt idx="8">
                  <c:v>0.006953228466450294</c:v>
                </c:pt>
                <c:pt idx="9">
                  <c:v>0.007544106138754046</c:v>
                </c:pt>
                <c:pt idx="10">
                  <c:v>0.00028491573356085535</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0.001286619633904895</c:v>
                </c:pt>
                <c:pt idx="10">
                  <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0.0024171011647571264</c:v>
                </c:pt>
                <c:pt idx="7">
                  <c:v/>
                </c:pt>
                <c:pt idx="8">
                  <c:v>0.006049735615523741</c:v>
                </c:pt>
                <c:pt idx="9">
                  <c:v>0.0066843129195297</c:v>
                </c:pt>
                <c:pt idx="10">
                  <c:v>0.0002598453055585228</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1467138887234618</c:v>
                </c:pt>
                <c:pt idx="1">
                  <c:v>0.10371095193438469</c:v>
                </c:pt>
                <c:pt idx="2">
                  <c:v/>
                </c:pt>
                <c:pt idx="3">
                  <c:v>0.013285795569918612</c:v>
                </c:pt>
                <c:pt idx="4">
                  <c:v/>
                </c:pt>
                <c:pt idx="5">
                  <c:v>4.3911920723197764e-05</c:v>
                </c:pt>
                <c:pt idx="6">
                  <c:v>0.39936557319765603</c:v>
                </c:pt>
                <c:pt idx="7">
                  <c:v>0.0009439269167876278</c:v>
                </c:pt>
                <c:pt idx="8">
                  <c:v>0.4644319541019976</c:v>
                </c:pt>
                <c:pt idx="9">
                  <c:v>0.016750747471297605</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0.0002598453055585228</c:v>
                </c:pt>
                <c:pt idx="3">
                  <c:v>0.0066843129195297</c:v>
                </c:pt>
                <c:pt idx="4">
                  <c:v/>
                </c:pt>
                <c:pt idx="5">
                  <c:v>0.006049735615523741</c:v>
                </c:pt>
                <c:pt idx="6">
                  <c:v/>
                </c:pt>
                <c:pt idx="7">
                  <c:v>0.0024171011647571264</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0.021349189784337294</c:v>
                </c:pt>
                <c:pt idx="9">
                  <c:v/>
                </c:pt>
                <c:pt idx="10">
                  <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
                </c:pt>
                <c:pt idx="2">
                  <c:v>0.001879874512001602</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6905626999909258e-08</c:v>
                </c:pt>
                <c:pt idx="1">
                  <c:v/>
                </c:pt>
                <c:pt idx="2">
                  <c:v>0.0073222119817831595</c:v>
                </c:pt>
                <c:pt idx="3">
                  <c:v/>
                </c:pt>
                <c:pt idx="4">
                  <c:v>0.005167922731453338</c:v>
                </c:pt>
                <c:pt idx="5">
                  <c:v>1.8856276269129557e-08</c:v>
                </c:pt>
                <c:pt idx="6">
                  <c:v>0.003808420974352366</c:v>
                </c:pt>
                <c:pt idx="7">
                  <c:v/>
                </c:pt>
                <c:pt idx="8">
                  <c:v>0.005849985454496062</c:v>
                </c:pt>
                <c:pt idx="9">
                  <c:v>3.446147042289195e-08</c:v>
                </c:pt>
                <c:pt idx="10">
                  <c:v>0.001108474653294281</c:v>
                </c:pt>
                <c:pt idx="11">
                  <c:v/>
                </c:pt>
                <c:pt idx="12">
                  <c:v>1.1679187391245004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
                </c:pt>
                <c:pt idx="2">
                  <c:v>0.007966005531298805</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0.004601392266782487</c:v>
                </c:pt>
                <c:pt idx="3">
                  <c:v/>
                </c:pt>
                <c:pt idx="4">
                  <c:v>0.004040866341890117</c:v>
                </c:pt>
                <c:pt idx="5">
                  <c:v/>
                </c:pt>
                <c:pt idx="6">
                  <c:v>0.001530209624262619</c:v>
                </c:pt>
                <c:pt idx="7">
                  <c:v/>
                </c:pt>
                <c:pt idx="8">
                  <c:v>0.005098599894898461</c:v>
                </c:pt>
                <c:pt idx="9">
                  <c:v/>
                </c:pt>
                <c:pt idx="10">
                  <c:v>0.0003219235799853063</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467138887234618</c:v>
                </c:pt>
                <c:pt idx="1">
                  <c:v/>
                </c:pt>
                <c:pt idx="2">
                  <c:v>0.10371095193438469</c:v>
                </c:pt>
                <c:pt idx="3">
                  <c:v/>
                </c:pt>
                <c:pt idx="4">
                  <c:v>0.013285795569918612</c:v>
                </c:pt>
                <c:pt idx="5">
                  <c:v>4.3911920723197764e-05</c:v>
                </c:pt>
                <c:pt idx="6">
                  <c:v>0.39936557319765603</c:v>
                </c:pt>
                <c:pt idx="7">
                  <c:v>0.0009439269167876278</c:v>
                </c:pt>
                <c:pt idx="8">
                  <c:v>0.4644319541019976</c:v>
                </c:pt>
                <c:pt idx="9">
                  <c:v/>
                </c:pt>
                <c:pt idx="10">
                  <c:v>0.016750747471297605</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003219235799853063</c:v>
                </c:pt>
                <c:pt idx="4">
                  <c:v/>
                </c:pt>
                <c:pt idx="5">
                  <c:v>0.005098599894898461</c:v>
                </c:pt>
                <c:pt idx="6">
                  <c:v/>
                </c:pt>
                <c:pt idx="7">
                  <c:v>0.001530209624262619</c:v>
                </c:pt>
                <c:pt idx="8">
                  <c:v>0.004040866341890117</c:v>
                </c:pt>
                <c:pt idx="9">
                  <c:v/>
                </c:pt>
                <c:pt idx="10">
                  <c:v>0.004601392266782487</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04549154025681851</c:v>
                </c:pt>
                <c:pt idx="5">
                  <c:v/>
                </c:pt>
                <c:pt idx="6">
                  <c:v>0.0023582829491734956</c:v>
                </c:pt>
                <c:pt idx="7">
                  <c:v>6.047012734582927e-08</c:v>
                </c:pt>
                <c:pt idx="8">
                  <c:v>0.008126447119639266</c:v>
                </c:pt>
                <c:pt idx="9">
                  <c:v/>
                </c:pt>
                <c:pt idx="10">
                  <c:v>0.004013192982254459</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0.021356477565972556</c:v>
                </c:pt>
                <c:pt idx="9">
                  <c:v/>
                </c:pt>
                <c:pt idx="10">
                  <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031935728484265434</c:v>
                </c:pt>
                <c:pt idx="5">
                  <c:v/>
                </c:pt>
                <c:pt idx="6">
                  <c:v>0.002182571604367232</c:v>
                </c:pt>
                <c:pt idx="7">
                  <c:v/>
                </c:pt>
                <c:pt idx="8">
                  <c:v>0.004900466368272281</c:v>
                </c:pt>
                <c:pt idx="9">
                  <c:v/>
                </c:pt>
                <c:pt idx="10">
                  <c:v>0.002804305032436436</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467138887234618</c:v>
                </c:pt>
                <c:pt idx="1">
                  <c:v>0.10371095193438469</c:v>
                </c:pt>
                <c:pt idx="2">
                  <c:v/>
                </c:pt>
                <c:pt idx="3">
                  <c:v/>
                </c:pt>
                <c:pt idx="4">
                  <c:v>0.013285795569918612</c:v>
                </c:pt>
                <c:pt idx="5">
                  <c:v>4.3911920723197764e-05</c:v>
                </c:pt>
                <c:pt idx="6">
                  <c:v>0.39936557319765603</c:v>
                </c:pt>
                <c:pt idx="7">
                  <c:v>0.0009439269167876278</c:v>
                </c:pt>
                <c:pt idx="8">
                  <c:v>0.4644319541019976</c:v>
                </c:pt>
                <c:pt idx="9">
                  <c:v/>
                </c:pt>
                <c:pt idx="10">
                  <c:v>0.016750747471297605</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02804305032436436</c:v>
                </c:pt>
                <c:pt idx="4">
                  <c:v/>
                </c:pt>
                <c:pt idx="5">
                  <c:v>0.004900466368272281</c:v>
                </c:pt>
                <c:pt idx="6">
                  <c:v/>
                </c:pt>
                <c:pt idx="7">
                  <c:v>0.002182571604367232</c:v>
                </c:pt>
                <c:pt idx="8">
                  <c:v>0.0031935728484265434</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0.008420724669259532</c:v>
                </c:pt>
                <c:pt idx="8">
                  <c:v>1.7377684123060573e-05</c:v>
                </c:pt>
                <c:pt idx="9">
                  <c:v>0.0003042369145724824</c:v>
                </c:pt>
                <c:pt idx="10">
                  <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467138887234618</c:v>
                </c:pt>
                <c:pt idx="1">
                  <c:v>0.10371095193438469</c:v>
                </c:pt>
                <c:pt idx="2">
                  <c:v/>
                </c:pt>
                <c:pt idx="3">
                  <c:v>0.013285795569918612</c:v>
                </c:pt>
                <c:pt idx="4">
                  <c:v/>
                </c:pt>
                <c:pt idx="5">
                  <c:v>4.3911920723197764e-05</c:v>
                </c:pt>
                <c:pt idx="6">
                  <c:v>0.39936557319765603</c:v>
                </c:pt>
                <c:pt idx="7">
                  <c:v>0.0009439269167876278</c:v>
                </c:pt>
                <c:pt idx="8">
                  <c:v>0.4644319541019976</c:v>
                </c:pt>
                <c:pt idx="9">
                  <c:v/>
                </c:pt>
                <c:pt idx="10">
                  <c:v>0.016750747471297605</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0.002134176755931314</c:v>
                </c:pt>
                <c:pt idx="7">
                  <c:v>0.006953228466450294</c:v>
                </c:pt>
                <c:pt idx="8">
                  <c:v>3.2311204711788105e-05</c:v>
                </c:pt>
                <c:pt idx="9">
                  <c:v>0.007544106138754046</c:v>
                </c:pt>
                <c:pt idx="10">
                  <c:v>0.00028491573356085535</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0.03567287201865732</c:v>
                </c:pt>
                <c:pt idx="8">
                  <c:v>7.250272897918591e-05</c:v>
                </c:pt>
                <c:pt idx="9">
                  <c:v>0.001286619633904895</c:v>
                </c:pt>
                <c:pt idx="10">
                  <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0.0023569573067529505</c:v>
                </c:pt>
                <c:pt idx="7">
                  <c:v>0.008724749571436376</c:v>
                </c:pt>
                <c:pt idx="8">
                  <c:v>0.00017319523364726745</c:v>
                </c:pt>
                <c:pt idx="9">
                  <c:v>0.011216928527125136</c:v>
                </c:pt>
                <c:pt idx="10">
                  <c:v>0.0006748514661496826</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0">
                  <c:v/>
                </c:pt>
                <c:pt idx="1">
                  <c:v/>
                </c:pt>
                <c:pt idx="2">
                  <c:v>0.0006748514661496826</c:v>
                </c:pt>
                <c:pt idx="3">
                  <c:v>0.011216928527125136</c:v>
                </c:pt>
                <c:pt idx="4">
                  <c:v>0.00017319523364726745</c:v>
                </c:pt>
                <c:pt idx="5">
                  <c:v>0.008724749571436376</c:v>
                </c:pt>
                <c:pt idx="6">
                  <c:v/>
                </c:pt>
                <c:pt idx="7">
                  <c:v>0.0023569573067529505</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0.001286619633904895</c:v>
                </c:pt>
                <c:pt idx="10">
                  <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0.021356477565972556</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
                </c:pt>
                <c:pt idx="2">
                  <c:v>0.001879874512001602</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6905626999909258e-08</c:v>
                </c:pt>
                <c:pt idx="1">
                  <c:v/>
                </c:pt>
                <c:pt idx="2">
                  <c:v>0.0073222119817831595</c:v>
                </c:pt>
                <c:pt idx="3">
                  <c:v/>
                </c:pt>
                <c:pt idx="4">
                  <c:v>0.005167922731453338</c:v>
                </c:pt>
                <c:pt idx="5">
                  <c:v>1.8856276269129557e-08</c:v>
                </c:pt>
                <c:pt idx="6">
                  <c:v>0.003808420974352366</c:v>
                </c:pt>
                <c:pt idx="7">
                  <c:v/>
                </c:pt>
                <c:pt idx="8">
                  <c:v>0.005849985454496062</c:v>
                </c:pt>
                <c:pt idx="9">
                  <c:v>3.446147042289195e-08</c:v>
                </c:pt>
                <c:pt idx="10">
                  <c:v>0.001108474653294281</c:v>
                </c:pt>
                <c:pt idx="11">
                  <c:v/>
                </c:pt>
                <c:pt idx="12">
                  <c:v>1.1679187391245004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
                </c:pt>
                <c:pt idx="2">
                  <c:v>0.007966005531298805</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1152300943159527e-07</c:v>
                </c:pt>
                <c:pt idx="1">
                  <c:v/>
                </c:pt>
                <c:pt idx="2">
                  <c:v>0.009611683486752821</c:v>
                </c:pt>
                <c:pt idx="3">
                  <c:v/>
                </c:pt>
                <c:pt idx="4">
                  <c:v>0.008070268211894027</c:v>
                </c:pt>
                <c:pt idx="5">
                  <c:v/>
                </c:pt>
                <c:pt idx="6">
                  <c:v>0.0008946847644719398</c:v>
                </c:pt>
                <c:pt idx="7">
                  <c:v/>
                </c:pt>
                <c:pt idx="8">
                  <c:v>0.008742820588310812</c:v>
                </c:pt>
                <c:pt idx="9">
                  <c:v/>
                </c:pt>
                <c:pt idx="10">
                  <c:v>0.0015639815268826257</c:v>
                </c:pt>
                <c:pt idx="11">
                  <c:v/>
                </c:pt>
                <c:pt idx="12">
                  <c:v>3.151811820397546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3.151811820397546e-05</c:v>
                </c:pt>
                <c:pt idx="2">
                  <c:v/>
                </c:pt>
                <c:pt idx="3">
                  <c:v>0.0015639815268826257</c:v>
                </c:pt>
                <c:pt idx="4">
                  <c:v/>
                </c:pt>
                <c:pt idx="5">
                  <c:v>0.008742820588310812</c:v>
                </c:pt>
                <c:pt idx="6">
                  <c:v/>
                </c:pt>
                <c:pt idx="7">
                  <c:v>0.0008946847644719398</c:v>
                </c:pt>
                <c:pt idx="8">
                  <c:v>0.008070268211894027</c:v>
                </c:pt>
                <c:pt idx="9">
                  <c:v/>
                </c:pt>
                <c:pt idx="10">
                  <c:v>0.009611683486752821</c:v>
                </c:pt>
                <c:pt idx="11">
                  <c:v/>
                </c:pt>
                <c:pt idx="12">
                  <c:v>1.1152300943159527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
                </c:pt>
                <c:pt idx="4">
                  <c:v>0.00024098060985378345</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04549154025681851</c:v>
                </c:pt>
                <c:pt idx="5">
                  <c:v/>
                </c:pt>
                <c:pt idx="6">
                  <c:v>0.0023582829491734956</c:v>
                </c:pt>
                <c:pt idx="7">
                  <c:v>6.047012734582927e-08</c:v>
                </c:pt>
                <c:pt idx="8">
                  <c:v>0.008126447119639266</c:v>
                </c:pt>
                <c:pt idx="9">
                  <c:v/>
                </c:pt>
                <c:pt idx="10">
                  <c:v>0.004013192982254459</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
                </c:pt>
                <c:pt idx="4">
                  <c:v>0.001020477770415566</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0.008123258798760101</c:v>
                </c:pt>
                <c:pt idx="5">
                  <c:v/>
                </c:pt>
                <c:pt idx="6">
                  <c:v>0.0019586700359540744</c:v>
                </c:pt>
                <c:pt idx="7">
                  <c:v/>
                </c:pt>
                <c:pt idx="8">
                  <c:v>0.008880963282224425</c:v>
                </c:pt>
                <c:pt idx="9">
                  <c:v/>
                </c:pt>
                <c:pt idx="10">
                  <c:v>0.006051217045025777</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06051217045025777</c:v>
                </c:pt>
                <c:pt idx="4">
                  <c:v/>
                </c:pt>
                <c:pt idx="5">
                  <c:v>0.008880963282224425</c:v>
                </c:pt>
                <c:pt idx="6">
                  <c:v/>
                </c:pt>
                <c:pt idx="7">
                  <c:v>0.0019586700359540744</c:v>
                </c:pt>
                <c:pt idx="8">
                  <c:v>0.008123258798760101</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5.780621953104889e-06</c:v>
                </c:pt>
                <c:pt idx="9">
                  <c:v/>
                </c:pt>
                <c:pt idx="10">
                  <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11277461696692123</c:v>
                </c:pt>
                <c:pt idx="10">
                  <c:v>0.004820224078680782</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5.7826951739594654e-06</c:v>
                </c:pt>
                <c:pt idx="9">
                  <c:v/>
                </c:pt>
                <c:pt idx="10">
                  <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467138887234618</c:v>
                </c:pt>
                <c:pt idx="1">
                  <c:v>0.10371095193438469</c:v>
                </c:pt>
                <c:pt idx="2">
                  <c:v/>
                </c:pt>
                <c:pt idx="3">
                  <c:v>0.013285795569918612</c:v>
                </c:pt>
                <c:pt idx="4">
                  <c:v/>
                </c:pt>
                <c:pt idx="5">
                  <c:v>4.3911920723197764e-05</c:v>
                </c:pt>
                <c:pt idx="6">
                  <c:v>0.39936557319765603</c:v>
                </c:pt>
                <c:pt idx="7">
                  <c:v>0.0009439269167876278</c:v>
                </c:pt>
                <c:pt idx="8">
                  <c:v>0.4644319541019976</c:v>
                </c:pt>
                <c:pt idx="9">
                  <c:v/>
                </c:pt>
                <c:pt idx="10">
                  <c:v>0.016750747471297605</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5.7826951739594654e-06</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1467138887234618</c:v>
                </c:pt>
                <c:pt idx="1">
                  <c:v>0.10371095193438469</c:v>
                </c:pt>
                <c:pt idx="2">
                  <c:v/>
                </c:pt>
                <c:pt idx="3">
                  <c:v>0.013285795569918612</c:v>
                </c:pt>
                <c:pt idx="4">
                  <c:v/>
                </c:pt>
                <c:pt idx="5">
                  <c:v>4.3911920723197764e-05</c:v>
                </c:pt>
                <c:pt idx="6">
                  <c:v>0.39936557319765603</c:v>
                </c:pt>
                <c:pt idx="7">
                  <c:v>0.0009439269167876278</c:v>
                </c:pt>
                <c:pt idx="8">
                  <c:v>0.4644319541019976</c:v>
                </c:pt>
                <c:pt idx="9">
                  <c:v>0.016750747471297605</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0.01878060916134092</c:v>
                </c:pt>
                <c:pt idx="7">
                  <c:v/>
                </c:pt>
                <c:pt idx="8">
                  <c:v>0.060194721989301196</c:v>
                </c:pt>
                <c:pt idx="9">
                  <c:v/>
                </c:pt>
                <c:pt idx="10">
                  <c:v>0.014280515076797716</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0.0340814542241074</c:v>
                </c:pt>
                <c:pt idx="7">
                  <c:v/>
                </c:pt>
                <c:pt idx="8">
                  <c:v>0.0785577834586375</c:v>
                </c:pt>
                <c:pt idx="9">
                  <c:v/>
                </c:pt>
                <c:pt idx="10">
                  <c:v>0.022139668694685408</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467138887234618</c:v>
                </c:pt>
                <c:pt idx="1">
                  <c:v>0.10371095193438469</c:v>
                </c:pt>
                <c:pt idx="2">
                  <c:v/>
                </c:pt>
                <c:pt idx="3">
                  <c:v>0.013285795569918612</c:v>
                </c:pt>
                <c:pt idx="4">
                  <c:v/>
                </c:pt>
                <c:pt idx="5">
                  <c:v>4.3911920723197764e-05</c:v>
                </c:pt>
                <c:pt idx="6">
                  <c:v>0.39936557319765603</c:v>
                </c:pt>
                <c:pt idx="7">
                  <c:v>0.0009439269167876278</c:v>
                </c:pt>
                <c:pt idx="8">
                  <c:v>0.4644319541019976</c:v>
                </c:pt>
                <c:pt idx="9">
                  <c:v/>
                </c:pt>
                <c:pt idx="10">
                  <c:v>0.016750747471297605</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22139668694685408</c:v>
                </c:pt>
                <c:pt idx="4">
                  <c:v/>
                </c:pt>
                <c:pt idx="5">
                  <c:v>0.0785577834586375</c:v>
                </c:pt>
                <c:pt idx="6">
                  <c:v/>
                </c:pt>
                <c:pt idx="7">
                  <c:v>0.0340814542241074</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0.004820224078680782</c:v>
                </c:pt>
                <c:pt idx="3">
                  <c:v>0.11277461696692123</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0.002414596290795131</c:v>
                </c:pt>
                <c:pt idx="9">
                  <c:v/>
                </c:pt>
                <c:pt idx="10">
                  <c:v>0.004785952485926713</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2.8713407016313334e-05</c:v>
                </c:pt>
                <c:pt idx="9">
                  <c:v/>
                </c:pt>
                <c:pt idx="10">
                  <c:v>0.0067360720354495175</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467138887234618</c:v>
                </c:pt>
                <c:pt idx="1">
                  <c:v>0.10371095193438469</c:v>
                </c:pt>
                <c:pt idx="2">
                  <c:v/>
                </c:pt>
                <c:pt idx="3">
                  <c:v>0.013285795569918612</c:v>
                </c:pt>
                <c:pt idx="4">
                  <c:v/>
                </c:pt>
                <c:pt idx="5">
                  <c:v>4.3911920723197764e-05</c:v>
                </c:pt>
                <c:pt idx="6">
                  <c:v>0.39936557319765603</c:v>
                </c:pt>
                <c:pt idx="7">
                  <c:v>0.0009439269167876278</c:v>
                </c:pt>
                <c:pt idx="8">
                  <c:v>0.4644319541019976</c:v>
                </c:pt>
                <c:pt idx="9">
                  <c:v/>
                </c:pt>
                <c:pt idx="10">
                  <c:v>0.016750747471297605</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067360720354495175</c:v>
                </c:pt>
                <c:pt idx="4">
                  <c:v/>
                </c:pt>
                <c:pt idx="5">
                  <c:v>2.8713407016313334e-05</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0.01878060916134092</c:v>
                </c:pt>
                <c:pt idx="7">
                  <c:v/>
                </c:pt>
                <c:pt idx="8">
                  <c:v>0.060194721989301196</c:v>
                </c:pt>
                <c:pt idx="9">
                  <c:v/>
                </c:pt>
                <c:pt idx="10">
                  <c:v>0.014280515076797716</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0.01852628303944447</c:v>
                </c:pt>
                <c:pt idx="7">
                  <c:v/>
                </c:pt>
                <c:pt idx="8">
                  <c:v>0.06857874750025944</c:v>
                </c:pt>
                <c:pt idx="9">
                  <c:v/>
                </c:pt>
                <c:pt idx="10">
                  <c:v>0.01525140965576692</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1525140965576692</c:v>
                </c:pt>
                <c:pt idx="4">
                  <c:v/>
                </c:pt>
                <c:pt idx="5">
                  <c:v>0.06857874750025944</c:v>
                </c:pt>
                <c:pt idx="6">
                  <c:v/>
                </c:pt>
                <c:pt idx="7">
                  <c:v>0.01852628303944447</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4876835877361912e-07</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8.765991781950135e-07</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8.76599178195013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6597753002241852e-05</c:v>
                </c:pt>
                <c:pt idx="1">
                  <c:v>0.001879874512001602</c:v>
                </c:pt>
                <c:pt idx="2">
                  <c:v/>
                </c:pt>
                <c:pt idx="3">
                  <c:v>0.00024098060985378345</c:v>
                </c:pt>
                <c:pt idx="4">
                  <c:v/>
                </c:pt>
                <c:pt idx="5">
                  <c:v>8.556848127646379e-07</c:v>
                </c:pt>
                <c:pt idx="6">
                  <c:v>0.0072385518857084165</c:v>
                </c:pt>
                <c:pt idx="7">
                  <c:v>1.7377684123060573e-05</c:v>
                </c:pt>
                <c:pt idx="8">
                  <c:v>0.008420724669259532</c:v>
                </c:pt>
                <c:pt idx="9">
                  <c:v/>
                </c:pt>
                <c:pt idx="10">
                  <c:v>0.0003042369145724824</c:v>
                </c:pt>
                <c:pt idx="11">
                  <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0.002414596290795131</c:v>
                </c:pt>
                <c:pt idx="9">
                  <c:v/>
                </c:pt>
                <c:pt idx="10">
                  <c:v>0.004785952485926713</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126904755274907</c:v>
                </c:pt>
                <c:pt idx="1">
                  <c:v>0.007966005531298805</c:v>
                </c:pt>
                <c:pt idx="2">
                  <c:v/>
                </c:pt>
                <c:pt idx="3">
                  <c:v>0.001020477770415566</c:v>
                </c:pt>
                <c:pt idx="4">
                  <c:v/>
                </c:pt>
                <c:pt idx="5">
                  <c:v>3.372860790943847e-06</c:v>
                </c:pt>
                <c:pt idx="6">
                  <c:v>0.030675143808491942</c:v>
                </c:pt>
                <c:pt idx="7">
                  <c:v>7.250272897918591e-05</c:v>
                </c:pt>
                <c:pt idx="8">
                  <c:v>0.03567287201865732</c:v>
                </c:pt>
                <c:pt idx="9">
                  <c:v/>
                </c:pt>
                <c:pt idx="10">
                  <c:v>0.001286619633904895</c:v>
                </c:pt>
                <c:pt idx="11">
                  <c:v/>
                </c:pt>
                <c:pt idx="12">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88939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856110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403405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32686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149124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62676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936698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290742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436649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609114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92017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955622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98053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218287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158238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73882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57601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34550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961014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84184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1820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865908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04006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46454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13385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770523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352548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105</Words>
  <Application>Microsoft Office PowerPoint</Application>
  <PresentationFormat>On-screen Show (16:9)</PresentationFormat>
  <Paragraphs>1161</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